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09" r:id="rId2"/>
    <p:sldId id="333" r:id="rId3"/>
    <p:sldId id="308" r:id="rId4"/>
    <p:sldId id="305" r:id="rId5"/>
    <p:sldId id="306" r:id="rId6"/>
    <p:sldId id="304" r:id="rId7"/>
    <p:sldId id="334" r:id="rId8"/>
    <p:sldId id="314" r:id="rId9"/>
    <p:sldId id="335" r:id="rId10"/>
    <p:sldId id="317" r:id="rId11"/>
    <p:sldId id="336" r:id="rId12"/>
    <p:sldId id="340" r:id="rId13"/>
    <p:sldId id="341" r:id="rId14"/>
    <p:sldId id="337" r:id="rId15"/>
    <p:sldId id="338" r:id="rId16"/>
    <p:sldId id="339" r:id="rId17"/>
  </p:sldIdLst>
  <p:sldSz cx="9144000" cy="6858000" type="screen4x3"/>
  <p:notesSz cx="6797675" cy="9926638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4EF1C2-5432-45B9-B70A-9263AF23D84E}" v="9" dt="2023-05-02T23:20:15.7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6357" autoAdjust="0"/>
  </p:normalViewPr>
  <p:slideViewPr>
    <p:cSldViewPr snapToObjects="1" showGuides="1">
      <p:cViewPr>
        <p:scale>
          <a:sx n="125" d="100"/>
          <a:sy n="125" d="100"/>
        </p:scale>
        <p:origin x="1230" y="90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-15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doza, Miguel02" userId="6acfb020-7c8d-4685-a657-39aa9cd64df7" providerId="ADAL" clId="{064EF1C2-5432-45B9-B70A-9263AF23D84E}"/>
    <pc:docChg chg="custSel addSld modSld sldOrd">
      <pc:chgData name="Mendoza, Miguel02" userId="6acfb020-7c8d-4685-a657-39aa9cd64df7" providerId="ADAL" clId="{064EF1C2-5432-45B9-B70A-9263AF23D84E}" dt="2023-05-03T00:28:00.329" v="49" actId="20577"/>
      <pc:docMkLst>
        <pc:docMk/>
      </pc:docMkLst>
      <pc:sldChg chg="modSp mod">
        <pc:chgData name="Mendoza, Miguel02" userId="6acfb020-7c8d-4685-a657-39aa9cd64df7" providerId="ADAL" clId="{064EF1C2-5432-45B9-B70A-9263AF23D84E}" dt="2023-05-03T00:28:00.329" v="49" actId="20577"/>
        <pc:sldMkLst>
          <pc:docMk/>
          <pc:sldMk cId="1268231016" sldId="305"/>
        </pc:sldMkLst>
        <pc:spChg chg="mod">
          <ac:chgData name="Mendoza, Miguel02" userId="6acfb020-7c8d-4685-a657-39aa9cd64df7" providerId="ADAL" clId="{064EF1C2-5432-45B9-B70A-9263AF23D84E}" dt="2023-05-03T00:28:00.329" v="49" actId="20577"/>
          <ac:spMkLst>
            <pc:docMk/>
            <pc:sldMk cId="1268231016" sldId="305"/>
            <ac:spMk id="2" creationId="{00000000-0000-0000-0000-000000000000}"/>
          </ac:spMkLst>
        </pc:spChg>
      </pc:sldChg>
      <pc:sldChg chg="modSp mod">
        <pc:chgData name="Mendoza, Miguel02" userId="6acfb020-7c8d-4685-a657-39aa9cd64df7" providerId="ADAL" clId="{064EF1C2-5432-45B9-B70A-9263AF23D84E}" dt="2023-05-02T23:42:18.227" v="24" actId="6549"/>
        <pc:sldMkLst>
          <pc:docMk/>
          <pc:sldMk cId="2263366998" sldId="333"/>
        </pc:sldMkLst>
        <pc:spChg chg="mod">
          <ac:chgData name="Mendoza, Miguel02" userId="6acfb020-7c8d-4685-a657-39aa9cd64df7" providerId="ADAL" clId="{064EF1C2-5432-45B9-B70A-9263AF23D84E}" dt="2023-05-02T23:42:18.227" v="24" actId="6549"/>
          <ac:spMkLst>
            <pc:docMk/>
            <pc:sldMk cId="2263366998" sldId="333"/>
            <ac:spMk id="2" creationId="{00000000-0000-0000-0000-000000000000}"/>
          </ac:spMkLst>
        </pc:spChg>
      </pc:sldChg>
      <pc:sldChg chg="addSp new">
        <pc:chgData name="Mendoza, Miguel02" userId="6acfb020-7c8d-4685-a657-39aa9cd64df7" providerId="ADAL" clId="{064EF1C2-5432-45B9-B70A-9263AF23D84E}" dt="2023-05-02T23:12:06.482" v="1"/>
        <pc:sldMkLst>
          <pc:docMk/>
          <pc:sldMk cId="703397103" sldId="336"/>
        </pc:sldMkLst>
        <pc:picChg chg="add">
          <ac:chgData name="Mendoza, Miguel02" userId="6acfb020-7c8d-4685-a657-39aa9cd64df7" providerId="ADAL" clId="{064EF1C2-5432-45B9-B70A-9263AF23D84E}" dt="2023-05-02T23:12:06.482" v="1"/>
          <ac:picMkLst>
            <pc:docMk/>
            <pc:sldMk cId="703397103" sldId="336"/>
            <ac:picMk id="1026" creationId="{D6115C72-94EA-4D77-9B58-821BCC720686}"/>
          </ac:picMkLst>
        </pc:picChg>
      </pc:sldChg>
      <pc:sldChg chg="addSp modSp new">
        <pc:chgData name="Mendoza, Miguel02" userId="6acfb020-7c8d-4685-a657-39aa9cd64df7" providerId="ADAL" clId="{064EF1C2-5432-45B9-B70A-9263AF23D84E}" dt="2023-05-02T23:13:00.925" v="4" actId="1076"/>
        <pc:sldMkLst>
          <pc:docMk/>
          <pc:sldMk cId="2259151709" sldId="337"/>
        </pc:sldMkLst>
        <pc:picChg chg="add mod">
          <ac:chgData name="Mendoza, Miguel02" userId="6acfb020-7c8d-4685-a657-39aa9cd64df7" providerId="ADAL" clId="{064EF1C2-5432-45B9-B70A-9263AF23D84E}" dt="2023-05-02T23:13:00.925" v="4" actId="1076"/>
          <ac:picMkLst>
            <pc:docMk/>
            <pc:sldMk cId="2259151709" sldId="337"/>
            <ac:picMk id="2050" creationId="{ADD9218D-CD06-4AF3-9326-00912D6F6E17}"/>
          </ac:picMkLst>
        </pc:picChg>
      </pc:sldChg>
      <pc:sldChg chg="addSp modSp new mod">
        <pc:chgData name="Mendoza, Miguel02" userId="6acfb020-7c8d-4685-a657-39aa9cd64df7" providerId="ADAL" clId="{064EF1C2-5432-45B9-B70A-9263AF23D84E}" dt="2023-05-02T23:13:44.675" v="8" actId="1076"/>
        <pc:sldMkLst>
          <pc:docMk/>
          <pc:sldMk cId="3913320459" sldId="338"/>
        </pc:sldMkLst>
        <pc:picChg chg="add mod">
          <ac:chgData name="Mendoza, Miguel02" userId="6acfb020-7c8d-4685-a657-39aa9cd64df7" providerId="ADAL" clId="{064EF1C2-5432-45B9-B70A-9263AF23D84E}" dt="2023-05-02T23:13:44.675" v="8" actId="1076"/>
          <ac:picMkLst>
            <pc:docMk/>
            <pc:sldMk cId="3913320459" sldId="338"/>
            <ac:picMk id="6" creationId="{E58F8285-4E22-4100-A3C2-652BC8F7EC68}"/>
          </ac:picMkLst>
        </pc:picChg>
      </pc:sldChg>
      <pc:sldChg chg="addSp modSp new mod">
        <pc:chgData name="Mendoza, Miguel02" userId="6acfb020-7c8d-4685-a657-39aa9cd64df7" providerId="ADAL" clId="{064EF1C2-5432-45B9-B70A-9263AF23D84E}" dt="2023-05-02T23:16:59.379" v="11" actId="1076"/>
        <pc:sldMkLst>
          <pc:docMk/>
          <pc:sldMk cId="3602672601" sldId="339"/>
        </pc:sldMkLst>
        <pc:picChg chg="add mod">
          <ac:chgData name="Mendoza, Miguel02" userId="6acfb020-7c8d-4685-a657-39aa9cd64df7" providerId="ADAL" clId="{064EF1C2-5432-45B9-B70A-9263AF23D84E}" dt="2023-05-02T23:16:59.379" v="11" actId="1076"/>
          <ac:picMkLst>
            <pc:docMk/>
            <pc:sldMk cId="3602672601" sldId="339"/>
            <ac:picMk id="6" creationId="{2791C1B8-A435-4973-9D4C-A4113AACBFDB}"/>
          </ac:picMkLst>
        </pc:picChg>
      </pc:sldChg>
      <pc:sldChg chg="addSp modSp new ord">
        <pc:chgData name="Mendoza, Miguel02" userId="6acfb020-7c8d-4685-a657-39aa9cd64df7" providerId="ADAL" clId="{064EF1C2-5432-45B9-B70A-9263AF23D84E}" dt="2023-05-02T23:18:35.115" v="17" actId="1076"/>
        <pc:sldMkLst>
          <pc:docMk/>
          <pc:sldMk cId="171371234" sldId="340"/>
        </pc:sldMkLst>
        <pc:picChg chg="add mod">
          <ac:chgData name="Mendoza, Miguel02" userId="6acfb020-7c8d-4685-a657-39aa9cd64df7" providerId="ADAL" clId="{064EF1C2-5432-45B9-B70A-9263AF23D84E}" dt="2023-05-02T23:18:35.115" v="17" actId="1076"/>
          <ac:picMkLst>
            <pc:docMk/>
            <pc:sldMk cId="171371234" sldId="340"/>
            <ac:picMk id="3074" creationId="{23CFB93C-C168-4CB6-88BB-739B2D78332D}"/>
          </ac:picMkLst>
        </pc:picChg>
      </pc:sldChg>
      <pc:sldChg chg="addSp modSp new">
        <pc:chgData name="Mendoza, Miguel02" userId="6acfb020-7c8d-4685-a657-39aa9cd64df7" providerId="ADAL" clId="{064EF1C2-5432-45B9-B70A-9263AF23D84E}" dt="2023-05-02T23:20:15.746" v="21" actId="1076"/>
        <pc:sldMkLst>
          <pc:docMk/>
          <pc:sldMk cId="258183989" sldId="341"/>
        </pc:sldMkLst>
        <pc:picChg chg="add mod">
          <ac:chgData name="Mendoza, Miguel02" userId="6acfb020-7c8d-4685-a657-39aa9cd64df7" providerId="ADAL" clId="{064EF1C2-5432-45B9-B70A-9263AF23D84E}" dt="2023-05-02T23:20:15.746" v="21" actId="1076"/>
          <ac:picMkLst>
            <pc:docMk/>
            <pc:sldMk cId="258183989" sldId="341"/>
            <ac:picMk id="4098" creationId="{84804386-7C6E-43F0-8B69-343F63118892}"/>
          </ac:picMkLst>
        </pc:picChg>
      </pc:sldChg>
    </pc:docChg>
  </pc:docChgLst>
  <pc:docChgLst>
    <pc:chgData name="Mendoza, Miguel02" userId="6acfb020-7c8d-4685-a657-39aa9cd64df7" providerId="ADAL" clId="{4C43BF0E-6823-4B8C-BB7E-A475588FA37D}"/>
    <pc:docChg chg="undo custSel addSld delSld modSld">
      <pc:chgData name="Mendoza, Miguel02" userId="6acfb020-7c8d-4685-a657-39aa9cd64df7" providerId="ADAL" clId="{4C43BF0E-6823-4B8C-BB7E-A475588FA37D}" dt="2022-10-13T03:32:26.899" v="938" actId="1076"/>
      <pc:docMkLst>
        <pc:docMk/>
      </pc:docMkLst>
      <pc:sldChg chg="modSp del mod">
        <pc:chgData name="Mendoza, Miguel02" userId="6acfb020-7c8d-4685-a657-39aa9cd64df7" providerId="ADAL" clId="{4C43BF0E-6823-4B8C-BB7E-A475588FA37D}" dt="2022-10-12T02:52:29.543" v="104" actId="47"/>
        <pc:sldMkLst>
          <pc:docMk/>
          <pc:sldMk cId="0" sldId="270"/>
        </pc:sldMkLst>
        <pc:spChg chg="mod">
          <ac:chgData name="Mendoza, Miguel02" userId="6acfb020-7c8d-4685-a657-39aa9cd64df7" providerId="ADAL" clId="{4C43BF0E-6823-4B8C-BB7E-A475588FA37D}" dt="2022-10-12T02:52:19.093" v="103" actId="20577"/>
          <ac:spMkLst>
            <pc:docMk/>
            <pc:sldMk cId="0" sldId="270"/>
            <ac:spMk id="6" creationId="{00000000-0000-0000-0000-000000000000}"/>
          </ac:spMkLst>
        </pc:spChg>
      </pc:sldChg>
      <pc:sldChg chg="modSp del mod">
        <pc:chgData name="Mendoza, Miguel02" userId="6acfb020-7c8d-4685-a657-39aa9cd64df7" providerId="ADAL" clId="{4C43BF0E-6823-4B8C-BB7E-A475588FA37D}" dt="2022-10-13T03:32:03.682" v="931" actId="47"/>
        <pc:sldMkLst>
          <pc:docMk/>
          <pc:sldMk cId="0" sldId="271"/>
        </pc:sldMkLst>
        <pc:spChg chg="mod">
          <ac:chgData name="Mendoza, Miguel02" userId="6acfb020-7c8d-4685-a657-39aa9cd64df7" providerId="ADAL" clId="{4C43BF0E-6823-4B8C-BB7E-A475588FA37D}" dt="2022-10-12T02:53:40.070" v="166"/>
          <ac:spMkLst>
            <pc:docMk/>
            <pc:sldMk cId="0" sldId="271"/>
            <ac:spMk id="6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2:52:35.333" v="105" actId="20577"/>
          <ac:spMkLst>
            <pc:docMk/>
            <pc:sldMk cId="0" sldId="271"/>
            <ac:spMk id="15" creationId="{00000000-0000-0000-0000-000000000000}"/>
          </ac:spMkLst>
        </pc:spChg>
      </pc:sldChg>
      <pc:sldChg chg="del">
        <pc:chgData name="Mendoza, Miguel02" userId="6acfb020-7c8d-4685-a657-39aa9cd64df7" providerId="ADAL" clId="{4C43BF0E-6823-4B8C-BB7E-A475588FA37D}" dt="2022-10-12T02:52:39.181" v="106" actId="47"/>
        <pc:sldMkLst>
          <pc:docMk/>
          <pc:sldMk cId="0" sldId="272"/>
        </pc:sldMkLst>
      </pc:sldChg>
      <pc:sldChg chg="modSp mod">
        <pc:chgData name="Mendoza, Miguel02" userId="6acfb020-7c8d-4685-a657-39aa9cd64df7" providerId="ADAL" clId="{4C43BF0E-6823-4B8C-BB7E-A475588FA37D}" dt="2022-10-12T03:09:11.551" v="583" actId="113"/>
        <pc:sldMkLst>
          <pc:docMk/>
          <pc:sldMk cId="2549494517" sldId="304"/>
        </pc:sldMkLst>
        <pc:spChg chg="mod">
          <ac:chgData name="Mendoza, Miguel02" userId="6acfb020-7c8d-4685-a657-39aa9cd64df7" providerId="ADAL" clId="{4C43BF0E-6823-4B8C-BB7E-A475588FA37D}" dt="2022-10-12T03:09:11.551" v="583" actId="113"/>
          <ac:spMkLst>
            <pc:docMk/>
            <pc:sldMk cId="2549494517" sldId="304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08:34.317" v="571" actId="20577"/>
          <ac:spMkLst>
            <pc:docMk/>
            <pc:sldMk cId="2549494517" sldId="304"/>
            <ac:spMk id="3" creationId="{00000000-0000-0000-0000-000000000000}"/>
          </ac:spMkLst>
        </pc:spChg>
      </pc:sldChg>
      <pc:sldChg chg="addSp delSp modSp mod">
        <pc:chgData name="Mendoza, Miguel02" userId="6acfb020-7c8d-4685-a657-39aa9cd64df7" providerId="ADAL" clId="{4C43BF0E-6823-4B8C-BB7E-A475588FA37D}" dt="2022-10-12T03:04:24.056" v="445" actId="20577"/>
        <pc:sldMkLst>
          <pc:docMk/>
          <pc:sldMk cId="1268231016" sldId="305"/>
        </pc:sldMkLst>
        <pc:spChg chg="mod">
          <ac:chgData name="Mendoza, Miguel02" userId="6acfb020-7c8d-4685-a657-39aa9cd64df7" providerId="ADAL" clId="{4C43BF0E-6823-4B8C-BB7E-A475588FA37D}" dt="2022-10-12T03:04:24.056" v="445" actId="20577"/>
          <ac:spMkLst>
            <pc:docMk/>
            <pc:sldMk cId="1268231016" sldId="305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2:57:43.287" v="263"/>
          <ac:spMkLst>
            <pc:docMk/>
            <pc:sldMk cId="1268231016" sldId="305"/>
            <ac:spMk id="3" creationId="{00000000-0000-0000-0000-000000000000}"/>
          </ac:spMkLst>
        </pc:spChg>
        <pc:spChg chg="add del mod">
          <ac:chgData name="Mendoza, Miguel02" userId="6acfb020-7c8d-4685-a657-39aa9cd64df7" providerId="ADAL" clId="{4C43BF0E-6823-4B8C-BB7E-A475588FA37D}" dt="2022-10-12T02:58:23.586" v="267"/>
          <ac:spMkLst>
            <pc:docMk/>
            <pc:sldMk cId="1268231016" sldId="305"/>
            <ac:spMk id="7" creationId="{189C4483-8F7C-407E-AD82-06BF0775A639}"/>
          </ac:spMkLst>
        </pc:spChg>
        <pc:spChg chg="add del mod">
          <ac:chgData name="Mendoza, Miguel02" userId="6acfb020-7c8d-4685-a657-39aa9cd64df7" providerId="ADAL" clId="{4C43BF0E-6823-4B8C-BB7E-A475588FA37D}" dt="2022-10-12T02:58:23.586" v="267"/>
          <ac:spMkLst>
            <pc:docMk/>
            <pc:sldMk cId="1268231016" sldId="305"/>
            <ac:spMk id="9" creationId="{9B2CA898-BF49-42B1-BE16-4FD615729DCE}"/>
          </ac:spMkLst>
        </pc:spChg>
        <pc:spChg chg="add del mod">
          <ac:chgData name="Mendoza, Miguel02" userId="6acfb020-7c8d-4685-a657-39aa9cd64df7" providerId="ADAL" clId="{4C43BF0E-6823-4B8C-BB7E-A475588FA37D}" dt="2022-10-12T02:58:23.586" v="267"/>
          <ac:spMkLst>
            <pc:docMk/>
            <pc:sldMk cId="1268231016" sldId="305"/>
            <ac:spMk id="10" creationId="{57DE0FD4-4D0D-4ABB-937B-9046F3ED21B8}"/>
          </ac:spMkLst>
        </pc:spChg>
        <pc:spChg chg="add del mod">
          <ac:chgData name="Mendoza, Miguel02" userId="6acfb020-7c8d-4685-a657-39aa9cd64df7" providerId="ADAL" clId="{4C43BF0E-6823-4B8C-BB7E-A475588FA37D}" dt="2022-10-12T02:58:26.142" v="270"/>
          <ac:spMkLst>
            <pc:docMk/>
            <pc:sldMk cId="1268231016" sldId="305"/>
            <ac:spMk id="11" creationId="{64C90CE8-592D-458B-BB78-4E751FBE6532}"/>
          </ac:spMkLst>
        </pc:spChg>
        <pc:spChg chg="add del mod">
          <ac:chgData name="Mendoza, Miguel02" userId="6acfb020-7c8d-4685-a657-39aa9cd64df7" providerId="ADAL" clId="{4C43BF0E-6823-4B8C-BB7E-A475588FA37D}" dt="2022-10-12T02:58:26.142" v="270"/>
          <ac:spMkLst>
            <pc:docMk/>
            <pc:sldMk cId="1268231016" sldId="305"/>
            <ac:spMk id="13" creationId="{4C3D3B31-05EE-4FD0-BE2E-1BA4D8032EBE}"/>
          </ac:spMkLst>
        </pc:spChg>
        <pc:spChg chg="add del mod">
          <ac:chgData name="Mendoza, Miguel02" userId="6acfb020-7c8d-4685-a657-39aa9cd64df7" providerId="ADAL" clId="{4C43BF0E-6823-4B8C-BB7E-A475588FA37D}" dt="2022-10-12T02:58:26.142" v="270"/>
          <ac:spMkLst>
            <pc:docMk/>
            <pc:sldMk cId="1268231016" sldId="305"/>
            <ac:spMk id="14" creationId="{396DBC1D-9CB3-4715-A4FB-3C6D7E117BC8}"/>
          </ac:spMkLst>
        </pc:spChg>
        <pc:graphicFrameChg chg="add del mod">
          <ac:chgData name="Mendoza, Miguel02" userId="6acfb020-7c8d-4685-a657-39aa9cd64df7" providerId="ADAL" clId="{4C43BF0E-6823-4B8C-BB7E-A475588FA37D}" dt="2022-10-12T02:58:23.586" v="267"/>
          <ac:graphicFrameMkLst>
            <pc:docMk/>
            <pc:sldMk cId="1268231016" sldId="305"/>
            <ac:graphicFrameMk id="8" creationId="{8AF84D95-7557-4E6E-9C63-50044540DC06}"/>
          </ac:graphicFrameMkLst>
        </pc:graphicFrameChg>
        <pc:graphicFrameChg chg="add del mod">
          <ac:chgData name="Mendoza, Miguel02" userId="6acfb020-7c8d-4685-a657-39aa9cd64df7" providerId="ADAL" clId="{4C43BF0E-6823-4B8C-BB7E-A475588FA37D}" dt="2022-10-12T02:58:26.142" v="270"/>
          <ac:graphicFrameMkLst>
            <pc:docMk/>
            <pc:sldMk cId="1268231016" sldId="305"/>
            <ac:graphicFrameMk id="12" creationId="{612429CB-C0B6-4400-BC39-63D3B8EE9611}"/>
          </ac:graphicFrameMkLst>
        </pc:graphicFrameChg>
      </pc:sldChg>
      <pc:sldChg chg="modSp mod">
        <pc:chgData name="Mendoza, Miguel02" userId="6acfb020-7c8d-4685-a657-39aa9cd64df7" providerId="ADAL" clId="{4C43BF0E-6823-4B8C-BB7E-A475588FA37D}" dt="2022-10-12T03:07:58.925" v="550" actId="27636"/>
        <pc:sldMkLst>
          <pc:docMk/>
          <pc:sldMk cId="376741096" sldId="306"/>
        </pc:sldMkLst>
        <pc:spChg chg="mod">
          <ac:chgData name="Mendoza, Miguel02" userId="6acfb020-7c8d-4685-a657-39aa9cd64df7" providerId="ADAL" clId="{4C43BF0E-6823-4B8C-BB7E-A475588FA37D}" dt="2022-10-12T03:07:58.925" v="550" actId="27636"/>
          <ac:spMkLst>
            <pc:docMk/>
            <pc:sldMk cId="376741096" sldId="306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05:32.363" v="472" actId="20577"/>
          <ac:spMkLst>
            <pc:docMk/>
            <pc:sldMk cId="376741096" sldId="306"/>
            <ac:spMk id="3" creationId="{00000000-0000-0000-0000-000000000000}"/>
          </ac:spMkLst>
        </pc:spChg>
      </pc:sldChg>
      <pc:sldChg chg="modSp mod">
        <pc:chgData name="Mendoza, Miguel02" userId="6acfb020-7c8d-4685-a657-39aa9cd64df7" providerId="ADAL" clId="{4C43BF0E-6823-4B8C-BB7E-A475588FA37D}" dt="2022-10-12T02:57:33.803" v="262" actId="20577"/>
        <pc:sldMkLst>
          <pc:docMk/>
          <pc:sldMk cId="3663866328" sldId="308"/>
        </pc:sldMkLst>
        <pc:spChg chg="mod">
          <ac:chgData name="Mendoza, Miguel02" userId="6acfb020-7c8d-4685-a657-39aa9cd64df7" providerId="ADAL" clId="{4C43BF0E-6823-4B8C-BB7E-A475588FA37D}" dt="2022-10-12T02:57:33.803" v="262" actId="20577"/>
          <ac:spMkLst>
            <pc:docMk/>
            <pc:sldMk cId="3663866328" sldId="308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2:55:28.434" v="221" actId="20577"/>
          <ac:spMkLst>
            <pc:docMk/>
            <pc:sldMk cId="3663866328" sldId="308"/>
            <ac:spMk id="3" creationId="{00000000-0000-0000-0000-000000000000}"/>
          </ac:spMkLst>
        </pc:spChg>
      </pc:sldChg>
      <pc:sldChg chg="modSp mod">
        <pc:chgData name="Mendoza, Miguel02" userId="6acfb020-7c8d-4685-a657-39aa9cd64df7" providerId="ADAL" clId="{4C43BF0E-6823-4B8C-BB7E-A475588FA37D}" dt="2022-10-13T03:32:26.899" v="938" actId="1076"/>
        <pc:sldMkLst>
          <pc:docMk/>
          <pc:sldMk cId="2263366998" sldId="309"/>
        </pc:sldMkLst>
        <pc:spChg chg="mod">
          <ac:chgData name="Mendoza, Miguel02" userId="6acfb020-7c8d-4685-a657-39aa9cd64df7" providerId="ADAL" clId="{4C43BF0E-6823-4B8C-BB7E-A475588FA37D}" dt="2022-10-13T03:32:14.169" v="935" actId="20577"/>
          <ac:spMkLst>
            <pc:docMk/>
            <pc:sldMk cId="2263366998" sldId="309"/>
            <ac:spMk id="8" creationId="{00000000-0000-0000-0000-000000000000}"/>
          </ac:spMkLst>
        </pc:spChg>
        <pc:picChg chg="mod">
          <ac:chgData name="Mendoza, Miguel02" userId="6acfb020-7c8d-4685-a657-39aa9cd64df7" providerId="ADAL" clId="{4C43BF0E-6823-4B8C-BB7E-A475588FA37D}" dt="2022-10-13T03:32:26.899" v="938" actId="1076"/>
          <ac:picMkLst>
            <pc:docMk/>
            <pc:sldMk cId="2263366998" sldId="309"/>
            <ac:picMk id="5" creationId="{13020E89-0495-46B8-A91C-C7A52A9897EA}"/>
          </ac:picMkLst>
        </pc:picChg>
      </pc:sldChg>
      <pc:sldChg chg="modSp mod">
        <pc:chgData name="Mendoza, Miguel02" userId="6acfb020-7c8d-4685-a657-39aa9cd64df7" providerId="ADAL" clId="{4C43BF0E-6823-4B8C-BB7E-A475588FA37D}" dt="2022-10-12T03:22:07.694" v="901" actId="20577"/>
        <pc:sldMkLst>
          <pc:docMk/>
          <pc:sldMk cId="2285872761" sldId="314"/>
        </pc:sldMkLst>
        <pc:spChg chg="mod">
          <ac:chgData name="Mendoza, Miguel02" userId="6acfb020-7c8d-4685-a657-39aa9cd64df7" providerId="ADAL" clId="{4C43BF0E-6823-4B8C-BB7E-A475588FA37D}" dt="2022-10-12T03:14:34.620" v="807" actId="20577"/>
          <ac:spMkLst>
            <pc:docMk/>
            <pc:sldMk cId="2285872761" sldId="314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12:40.415" v="665" actId="20577"/>
          <ac:spMkLst>
            <pc:docMk/>
            <pc:sldMk cId="2285872761" sldId="314"/>
            <ac:spMk id="3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22:07.694" v="901" actId="20577"/>
          <ac:spMkLst>
            <pc:docMk/>
            <pc:sldMk cId="2285872761" sldId="314"/>
            <ac:spMk id="8" creationId="{00000000-0000-0000-0000-000000000000}"/>
          </ac:spMkLst>
        </pc:spChg>
      </pc:sldChg>
      <pc:sldChg chg="modSp mod">
        <pc:chgData name="Mendoza, Miguel02" userId="6acfb020-7c8d-4685-a657-39aa9cd64df7" providerId="ADAL" clId="{4C43BF0E-6823-4B8C-BB7E-A475588FA37D}" dt="2022-10-12T02:51:48.407" v="73" actId="20577"/>
        <pc:sldMkLst>
          <pc:docMk/>
          <pc:sldMk cId="2263366998" sldId="333"/>
        </pc:sldMkLst>
        <pc:spChg chg="mod">
          <ac:chgData name="Mendoza, Miguel02" userId="6acfb020-7c8d-4685-a657-39aa9cd64df7" providerId="ADAL" clId="{4C43BF0E-6823-4B8C-BB7E-A475588FA37D}" dt="2022-10-12T02:51:39.802" v="64" actId="20577"/>
          <ac:spMkLst>
            <pc:docMk/>
            <pc:sldMk cId="2263366998" sldId="333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2:51:48.407" v="73" actId="20577"/>
          <ac:spMkLst>
            <pc:docMk/>
            <pc:sldMk cId="2263366998" sldId="333"/>
            <ac:spMk id="3" creationId="{00000000-0000-0000-0000-000000000000}"/>
          </ac:spMkLst>
        </pc:spChg>
      </pc:sldChg>
      <pc:sldChg chg="del">
        <pc:chgData name="Mendoza, Miguel02" userId="6acfb020-7c8d-4685-a657-39aa9cd64df7" providerId="ADAL" clId="{4C43BF0E-6823-4B8C-BB7E-A475588FA37D}" dt="2022-10-12T02:51:53.093" v="74" actId="47"/>
        <pc:sldMkLst>
          <pc:docMk/>
          <pc:sldMk cId="2263366998" sldId="334"/>
        </pc:sldMkLst>
      </pc:sldChg>
      <pc:sldChg chg="modSp add mod">
        <pc:chgData name="Mendoza, Miguel02" userId="6acfb020-7c8d-4685-a657-39aa9cd64df7" providerId="ADAL" clId="{4C43BF0E-6823-4B8C-BB7E-A475588FA37D}" dt="2022-10-12T03:10:05.163" v="595" actId="20577"/>
        <pc:sldMkLst>
          <pc:docMk/>
          <pc:sldMk cId="3627148382" sldId="334"/>
        </pc:sldMkLst>
        <pc:spChg chg="mod">
          <ac:chgData name="Mendoza, Miguel02" userId="6acfb020-7c8d-4685-a657-39aa9cd64df7" providerId="ADAL" clId="{4C43BF0E-6823-4B8C-BB7E-A475588FA37D}" dt="2022-10-12T03:10:02.964" v="594" actId="20577"/>
          <ac:spMkLst>
            <pc:docMk/>
            <pc:sldMk cId="3627148382" sldId="334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10:05.163" v="595" actId="20577"/>
          <ac:spMkLst>
            <pc:docMk/>
            <pc:sldMk cId="3627148382" sldId="334"/>
            <ac:spMk id="3" creationId="{00000000-0000-0000-0000-000000000000}"/>
          </ac:spMkLst>
        </pc:spChg>
      </pc:sldChg>
      <pc:sldChg chg="modSp add mod">
        <pc:chgData name="Mendoza, Miguel02" userId="6acfb020-7c8d-4685-a657-39aa9cd64df7" providerId="ADAL" clId="{4C43BF0E-6823-4B8C-BB7E-A475588FA37D}" dt="2022-10-12T03:25:08.202" v="930" actId="20577"/>
        <pc:sldMkLst>
          <pc:docMk/>
          <pc:sldMk cId="3685813165" sldId="335"/>
        </pc:sldMkLst>
        <pc:spChg chg="mod">
          <ac:chgData name="Mendoza, Miguel02" userId="6acfb020-7c8d-4685-a657-39aa9cd64df7" providerId="ADAL" clId="{4C43BF0E-6823-4B8C-BB7E-A475588FA37D}" dt="2022-10-12T03:23:49.130" v="924"/>
          <ac:spMkLst>
            <pc:docMk/>
            <pc:sldMk cId="3685813165" sldId="335"/>
            <ac:spMk id="2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19:08.266" v="836" actId="20577"/>
          <ac:spMkLst>
            <pc:docMk/>
            <pc:sldMk cId="3685813165" sldId="335"/>
            <ac:spMk id="3" creationId="{00000000-0000-0000-0000-000000000000}"/>
          </ac:spMkLst>
        </pc:spChg>
        <pc:spChg chg="mod">
          <ac:chgData name="Mendoza, Miguel02" userId="6acfb020-7c8d-4685-a657-39aa9cd64df7" providerId="ADAL" clId="{4C43BF0E-6823-4B8C-BB7E-A475588FA37D}" dt="2022-10-12T03:25:08.202" v="930" actId="20577"/>
          <ac:spMkLst>
            <pc:docMk/>
            <pc:sldMk cId="3685813165" sldId="335"/>
            <ac:spMk id="8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02.05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5/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8047A8-C61D-47B4-B51C-01284671C26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309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s-MX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enx.de/wiki/U-Boot/" TargetMode="Externa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3020E89-0495-46B8-A91C-C7A52A989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204" y="99514"/>
            <a:ext cx="8820187" cy="419807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err="1"/>
              <a:t>Bootloader</a:t>
            </a:r>
            <a:r>
              <a:rPr lang="es-MX" dirty="0"/>
              <a:t> – </a:t>
            </a:r>
            <a:r>
              <a:rPr lang="es-MX" dirty="0" err="1"/>
              <a:t>Introduccion</a:t>
            </a:r>
            <a:r>
              <a:rPr lang="es-MX" dirty="0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Miguel Angel Mendoza Mendoza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/>
              <a:t>www.continental-corporation.com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/>
              <a:t>Division Nami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CTEP</a:t>
            </a:r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racia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3E337-305E-4483-824B-4A86B40D6007}" type="datetime3">
              <a:rPr lang="en-US" smtClean="0"/>
              <a:pPr/>
              <a:t>2 May 2023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70599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F6A01D-4BBF-4E5B-A77A-8DC32762F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3E0EF6-65A3-43E6-9D96-E8D43905E8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1713B-6A92-4F9E-B8AE-2DBFFC8A1E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6115C72-94EA-4D77-9B58-821BCC7206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25" y="1071563"/>
            <a:ext cx="7143750" cy="471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339710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645D08-86A3-4F76-9ACA-B6AFB46F4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67F91D-7625-4CA8-9C54-924406E598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0CD483-AAC4-449D-90FE-90C0F1B5EB7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3074" name="Picture 2" descr="Boot chain overview - stm32mpu">
            <a:extLst>
              <a:ext uri="{FF2B5EF4-FFF2-40B4-BE49-F238E27FC236}">
                <a16:creationId xmlns:a16="http://schemas.microsoft.com/office/drawing/2014/main" id="{23CFB93C-C168-4CB6-88BB-739B2D783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908720"/>
            <a:ext cx="5715000" cy="444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37123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1DCCAC-6462-4CEF-99A3-9002E0362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143CF6-145A-437C-8B66-C9CFD02936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C3921F-D33B-42DA-9529-5B47AB8A12B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4804386-7C6E-43F0-8B69-343F63118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160"/>
            <a:ext cx="8572500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8398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E65760-8CB3-42D1-888E-DA72AAC66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0EE5FD-4183-4A5A-B272-5CCFB16AE1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939805-A75C-481A-90D2-577DC6E1E99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DD9218D-CD06-4AF3-9326-00912D6F6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1700808"/>
            <a:ext cx="8248650" cy="275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915170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3725A5-56E3-4CFB-A2A2-7BD50B1F3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C9B71A-F4B2-4768-AADE-47A4B34340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ACE0A-D07A-4C97-8D12-4E14E4C9D4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8F8285-4E22-4100-A3C2-652BC8F7EC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36" y="799494"/>
            <a:ext cx="7897327" cy="438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32045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FAE486-F5B4-4A4F-ABBC-23415719E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E68C6-1DBC-42CC-9C2B-187673C3493C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C1A5ED-DA54-4C5A-8422-E195C22AA9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3E55AE-EB79-4DB4-B27D-530E860EFD0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91C1B8-A435-4973-9D4C-A4113AACB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807" y="1124744"/>
            <a:ext cx="7925906" cy="416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7260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Gestor de </a:t>
            </a:r>
            <a:r>
              <a:rPr lang="en-US" noProof="0" dirty="0" err="1"/>
              <a:t>arranqu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Unidad 3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/>
              <a:t>www.continental-corporation.com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/>
              <a:t>Division Naming</a:t>
            </a:r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noProof="0" dirty="0"/>
              <a:t>Los proyectos que diseñan productos integrados son responsables de cada faceta del firmware o software. En esta unidad nos concentrarse en el código de arranque.</a:t>
            </a:r>
            <a:endParaRPr lang="es-MX" dirty="0"/>
          </a:p>
          <a:p>
            <a:r>
              <a:rPr lang="es-MX" noProof="0" dirty="0"/>
              <a:t>El código de arranque debe tener un conocimiento íntimo y detallado de todos los componentes de hardware del sistema, desde sus direcciones en memoria, a los registros, a los pasos específicos necesarios para ponerlos en un estado de funcionamiento. </a:t>
            </a:r>
          </a:p>
          <a:p>
            <a:r>
              <a:rPr lang="es-MX" noProof="0" dirty="0"/>
              <a:t>La secuencia de arranque de una plataforma integrada típica suele tener varios pasos. </a:t>
            </a:r>
          </a:p>
          <a:p>
            <a:r>
              <a:rPr lang="es-MX" noProof="0" dirty="0"/>
              <a:t>Estos pasos a menudo se denominan partes de un gestor de arranque de varias etapas. </a:t>
            </a:r>
          </a:p>
          <a:p>
            <a:r>
              <a:rPr lang="es-MX" noProof="0" dirty="0"/>
              <a:t>Cada arquitectura y plataforma tiene su propio lenguaje para describir el proceso, pero en general funciona de la siguiente forma: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Etapas</a:t>
            </a:r>
            <a:r>
              <a:rPr lang="en-US" noProof="0" dirty="0"/>
              <a:t> de </a:t>
            </a:r>
            <a:r>
              <a:rPr lang="en-US" noProof="0" dirty="0" err="1"/>
              <a:t>arranque</a:t>
            </a:r>
            <a:br>
              <a:rPr lang="en-US" noProof="0" dirty="0"/>
            </a:br>
            <a:r>
              <a:rPr lang="en-US" b="0" dirty="0" err="1"/>
              <a:t>Introduccion</a:t>
            </a:r>
            <a:endParaRPr lang="en-US" b="0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A7525-F98F-4791-8304-F61ECDD9E2E5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386632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noProof="0" dirty="0"/>
              <a:t>Boot ROM</a:t>
            </a:r>
          </a:p>
          <a:p>
            <a:pPr marL="527050" lvl="1" indent="-342900">
              <a:buFont typeface="Arial" panose="020B0604020202020204" pitchFamily="34" charset="0"/>
              <a:buChar char="•"/>
            </a:pPr>
            <a:r>
              <a:rPr lang="es-MX" dirty="0"/>
              <a:t>U</a:t>
            </a:r>
            <a:r>
              <a:rPr lang="es-MX" noProof="0" dirty="0" err="1"/>
              <a:t>nico</a:t>
            </a:r>
            <a:r>
              <a:rPr lang="es-MX" noProof="0" dirty="0"/>
              <a:t> objetivo es cargar el IPL</a:t>
            </a:r>
            <a:endParaRPr lang="en-US" noProof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PL - Initial program loader </a:t>
            </a:r>
          </a:p>
          <a:p>
            <a:pPr marL="527050" lvl="1" indent="-342900">
              <a:buFont typeface="Arial" panose="020B0604020202020204" pitchFamily="34" charset="0"/>
              <a:buChar char="•"/>
            </a:pPr>
            <a:r>
              <a:rPr lang="es-MX" dirty="0"/>
              <a:t>Generalmente muy pequeño y típicamente escrito en ensamblador.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noProof="0" dirty="0"/>
              <a:t>SPL – Secondary program loader</a:t>
            </a:r>
          </a:p>
          <a:p>
            <a:pPr marL="527050" lvl="1" indent="-342900">
              <a:buFont typeface="Arial" panose="020B0604020202020204" pitchFamily="34" charset="0"/>
              <a:buChar char="•"/>
            </a:pPr>
            <a:r>
              <a:rPr lang="es-MX" noProof="0" dirty="0"/>
              <a:t>Puede ser el gestor de arranque en algunas plataformas. Sin embargo, en el caso en que no lo es, el SPL tiene la tarea muy simple de cargar el </a:t>
            </a:r>
            <a:r>
              <a:rPr lang="es-MX" noProof="0" dirty="0" err="1"/>
              <a:t>bootloader</a:t>
            </a:r>
            <a:r>
              <a:rPr lang="es-MX" noProof="0" dirty="0"/>
              <a:t>,</a:t>
            </a:r>
            <a:endParaRPr lang="en-US" noProof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Bootloader – Etapa</a:t>
            </a:r>
            <a:endParaRPr lang="en-US" dirty="0"/>
          </a:p>
          <a:p>
            <a:pPr marL="527050" lvl="1" indent="-342900">
              <a:buFont typeface="Arial" panose="020B0604020202020204" pitchFamily="34" charset="0"/>
              <a:buChar char="•"/>
            </a:pPr>
            <a:r>
              <a:rPr lang="es-MX" dirty="0"/>
              <a:t>Generalmente más complejo y a menudo mejor diseñado, su objetivo es el arranque del </a:t>
            </a:r>
            <a:r>
              <a:rPr lang="en-US" dirty="0"/>
              <a:t>Kern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Kern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Etapas</a:t>
            </a:r>
            <a:r>
              <a:rPr lang="en-US" noProof="0" dirty="0"/>
              <a:t> de </a:t>
            </a:r>
            <a:r>
              <a:rPr lang="en-US" noProof="0" dirty="0" err="1"/>
              <a:t>arranque</a:t>
            </a:r>
            <a:br>
              <a:rPr lang="en-US" noProof="0" dirty="0"/>
            </a:br>
            <a:r>
              <a:rPr lang="en-US" b="0" dirty="0" err="1"/>
              <a:t>Introduccion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C1E94-159A-4641-9F0D-50D37F25F1C9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823101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536" y="1341437"/>
            <a:ext cx="8353425" cy="4535487"/>
          </a:xfrm>
        </p:spPr>
        <p:txBody>
          <a:bodyPr>
            <a:normAutofit fontScale="925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noProof="0" dirty="0"/>
              <a:t>Fase de diseño de ingeniería</a:t>
            </a:r>
          </a:p>
          <a:p>
            <a:pPr marL="469900" lvl="1" indent="-285750">
              <a:buFont typeface="Arial" panose="020B0604020202020204" pitchFamily="34" charset="0"/>
              <a:buChar char="•"/>
            </a:pPr>
            <a:r>
              <a:rPr lang="es-MX" noProof="0" dirty="0"/>
              <a:t>El primero es obvio, tan obvio que en ocasiones se presta poca atención a las fases del producto después de la implementació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noProof="0" dirty="0"/>
              <a:t>Arranque de recuperación de bloqueo</a:t>
            </a:r>
          </a:p>
          <a:p>
            <a:pPr marL="469900" lvl="1" indent="-285750">
              <a:buFont typeface="Arial" panose="020B0604020202020204" pitchFamily="34" charset="0"/>
              <a:buChar char="•"/>
            </a:pPr>
            <a:r>
              <a:rPr lang="es-MX" noProof="0" dirty="0"/>
              <a:t>Esto suele ser parte de la fase de ingeniería y, a menudo, es tan simple como garantizar que una versión estable del sistema operativo, el objetivo es que se pueda iniciar en caso de que la versión en desarrollo fal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noProof="0" dirty="0"/>
              <a:t>Arranque de actualización de campo</a:t>
            </a:r>
          </a:p>
          <a:p>
            <a:pPr marL="469900" lvl="1" indent="-285750">
              <a:buFont typeface="Arial" panose="020B0604020202020204" pitchFamily="34" charset="0"/>
              <a:buChar char="•"/>
            </a:pPr>
            <a:r>
              <a:rPr lang="es-MX" noProof="0" dirty="0"/>
              <a:t>Algunos productos tienen requisitos que incluyen la actualización de firmware y/o software en el campo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noProof="0" dirty="0"/>
              <a:t>Arranque de diagnóstico extendido</a:t>
            </a:r>
          </a:p>
          <a:p>
            <a:pPr marL="469900" lvl="1" indent="-285750">
              <a:buFont typeface="Arial" panose="020B0604020202020204" pitchFamily="34" charset="0"/>
              <a:buChar char="•"/>
            </a:pPr>
            <a:r>
              <a:rPr lang="es-MX" noProof="0" dirty="0"/>
              <a:t>Muchos productos tienen paquetes de diagnóstico extendidos destinados a ser ejecutados por técnicos en el campo o (a veces) de forma remota a través de Internet u otra conexión.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Objetivos</a:t>
            </a:r>
            <a:r>
              <a:rPr lang="en-US" noProof="0" dirty="0"/>
              <a:t> del </a:t>
            </a:r>
            <a:r>
              <a:rPr lang="en-US" noProof="0" dirty="0" err="1"/>
              <a:t>proyecto</a:t>
            </a:r>
            <a:br>
              <a:rPr lang="en-US" noProof="0" dirty="0"/>
            </a:br>
            <a:endParaRPr lang="en-US" b="0" noProof="0" dirty="0">
              <a:solidFill>
                <a:schemeClr val="bg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89DDA-7BD9-4A72-AD2D-371161E9BBC9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74109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sz="1800" i="0" u="none" strike="noStrike" baseline="0" dirty="0">
                <a:latin typeface="NimbusSanL-Bold"/>
              </a:rPr>
              <a:t>Das U-</a:t>
            </a:r>
            <a:r>
              <a:rPr lang="es-MX" sz="1800" i="0" u="none" strike="noStrike" baseline="0" dirty="0" err="1">
                <a:latin typeface="NimbusSanL-Bold"/>
              </a:rPr>
              <a:t>Boot</a:t>
            </a:r>
            <a:endParaRPr lang="es-MX" sz="1800" i="0" u="none" strike="noStrike" baseline="0" dirty="0">
              <a:latin typeface="NimbusSanL-Bold"/>
            </a:endParaRPr>
          </a:p>
          <a:p>
            <a:r>
              <a:rPr lang="es-MX" sz="1800" i="0" u="none" strike="noStrike" baseline="0" dirty="0" err="1">
                <a:latin typeface="NimbusSanL-Bold"/>
              </a:rPr>
              <a:t>Barebox</a:t>
            </a:r>
            <a:endParaRPr lang="es-MX" sz="1800" dirty="0">
              <a:latin typeface="NimbusSanL-Bold"/>
            </a:endParaRPr>
          </a:p>
          <a:p>
            <a:r>
              <a:rPr lang="es-MX" sz="1800" i="0" u="none" strike="noStrike" baseline="0" dirty="0" err="1">
                <a:latin typeface="NimbusSanL-Bold"/>
              </a:rPr>
              <a:t>Coreboot</a:t>
            </a:r>
            <a:endParaRPr lang="es-MX" sz="1800" i="0" u="none" strike="noStrike" baseline="0" dirty="0">
              <a:latin typeface="NimbusSanL-Bold"/>
            </a:endParaRPr>
          </a:p>
          <a:p>
            <a:r>
              <a:rPr lang="es-MX" sz="1800" i="0" u="none" strike="noStrike" baseline="0" dirty="0">
                <a:latin typeface="NimbusSanL-Bold"/>
              </a:rPr>
              <a:t>GRUB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Gestores</a:t>
            </a:r>
            <a:r>
              <a:rPr lang="en-US" noProof="0" dirty="0"/>
              <a:t> de </a:t>
            </a:r>
            <a:r>
              <a:rPr lang="en-US" noProof="0" dirty="0" err="1"/>
              <a:t>arranque</a:t>
            </a:r>
            <a:br>
              <a:rPr lang="en-US" noProof="0" dirty="0"/>
            </a:br>
            <a:endParaRPr lang="en-US" b="0" noProof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8CB57-B10A-45FD-A2C8-673592ABBDFB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949451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U - Boo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/>
              <a:t>www.continental-corporation.com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/>
              <a:t>Division Naming</a:t>
            </a:r>
          </a:p>
        </p:txBody>
      </p:sp>
    </p:spTree>
    <p:extLst>
      <p:ext uri="{BB962C8B-B14F-4D97-AF65-F5344CB8AC3E}">
        <p14:creationId xmlns:p14="http://schemas.microsoft.com/office/powerpoint/2010/main" val="36271483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MX" dirty="0">
                <a:hlinkClick r:id="rId2"/>
              </a:rPr>
              <a:t>U-</a:t>
            </a:r>
            <a:r>
              <a:rPr lang="es-MX" dirty="0" err="1">
                <a:hlinkClick r:id="rId2"/>
              </a:rPr>
              <a:t>Boot</a:t>
            </a:r>
            <a:r>
              <a:rPr lang="es-MX" dirty="0">
                <a:hlinkClick r:id="rId2"/>
              </a:rPr>
              <a:t> | DENX</a:t>
            </a:r>
            <a:br>
              <a:rPr lang="es-MX" dirty="0"/>
            </a:br>
            <a:endParaRPr lang="es-MX" dirty="0"/>
          </a:p>
          <a:p>
            <a:pPr marL="0" indent="0">
              <a:buNone/>
            </a:pPr>
            <a:r>
              <a:rPr lang="es-MX" dirty="0"/>
              <a:t>E</a:t>
            </a:r>
            <a:r>
              <a:rPr lang="es-MX" noProof="0" dirty="0"/>
              <a:t>s probablemente el proyecto de inicialización del sistema desarrollado más activamente desarrollado al día de hoy.</a:t>
            </a:r>
          </a:p>
          <a:p>
            <a:pPr marL="0" indent="0">
              <a:buNone/>
            </a:pPr>
            <a:r>
              <a:rPr lang="es-MX" noProof="0" dirty="0"/>
              <a:t>Aunque se utiliza principalmente en sistemas embebidos, no se limita a ellos.</a:t>
            </a:r>
          </a:p>
          <a:p>
            <a:pPr marL="0" indent="0">
              <a:buNone/>
            </a:pPr>
            <a:r>
              <a:rPr lang="en-US" dirty="0" err="1"/>
              <a:t>Completamente</a:t>
            </a:r>
            <a:r>
              <a:rPr lang="en-US" dirty="0"/>
              <a:t> libre de </a:t>
            </a:r>
            <a:r>
              <a:rPr lang="en-US" dirty="0" err="1"/>
              <a:t>patente</a:t>
            </a:r>
            <a:r>
              <a:rPr lang="en-US" dirty="0"/>
              <a:t>, </a:t>
            </a:r>
            <a:r>
              <a:rPr lang="en-US" dirty="0" err="1"/>
              <a:t>completamente</a:t>
            </a:r>
            <a:r>
              <a:rPr lang="en-US" dirty="0"/>
              <a:t> </a:t>
            </a:r>
            <a:r>
              <a:rPr lang="en-US" dirty="0" err="1"/>
              <a:t>abierto</a:t>
            </a:r>
            <a:r>
              <a:rPr lang="en-US" dirty="0"/>
              <a:t> </a:t>
            </a:r>
            <a:r>
              <a:rPr lang="en-US" dirty="0" err="1"/>
              <a:t>utilizando</a:t>
            </a:r>
            <a:r>
              <a:rPr lang="en-US" dirty="0"/>
              <a:t> </a:t>
            </a:r>
            <a:r>
              <a:rPr lang="en-US" dirty="0" err="1"/>
              <a:t>licencia</a:t>
            </a:r>
            <a:r>
              <a:rPr lang="en-US" dirty="0"/>
              <a:t> GPL.</a:t>
            </a:r>
          </a:p>
          <a:p>
            <a:pPr marL="0" indent="0">
              <a:buNone/>
            </a:pPr>
            <a:endParaRPr lang="es-MX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s-MX" noProof="0" dirty="0"/>
              <a:t>U-</a:t>
            </a:r>
            <a:r>
              <a:rPr lang="es-MX" noProof="0" dirty="0" err="1"/>
              <a:t>Boot</a:t>
            </a:r>
            <a:r>
              <a:rPr lang="es-MX" noProof="0" dirty="0"/>
              <a:t> tiene una línea de comando interactiva </a:t>
            </a:r>
          </a:p>
          <a:p>
            <a:pPr marL="0" indent="0">
              <a:buNone/>
            </a:pPr>
            <a:r>
              <a:rPr lang="es-MX" noProof="0" dirty="0"/>
              <a:t>Se puede programar con scripts almacenados en variables, que a su vez pueden conservarse en la memoria flash.</a:t>
            </a:r>
          </a:p>
          <a:p>
            <a:pPr marL="0" indent="0">
              <a:buNone/>
            </a:pPr>
            <a:r>
              <a:rPr lang="es-MX" noProof="0" dirty="0"/>
              <a:t>El lenguaje de comandos es consistente en todas las plataformas, pero también se puede ampliar fácilmente para que los comandos personalizados</a:t>
            </a:r>
          </a:p>
          <a:p>
            <a:pPr marL="0" indent="0">
              <a:buNone/>
            </a:pPr>
            <a:r>
              <a:rPr lang="es-MX" noProof="0" dirty="0"/>
              <a:t>El lenguaje de comandos sigue el patrón de un </a:t>
            </a:r>
            <a:r>
              <a:rPr lang="es-MX" noProof="0" dirty="0" err="1"/>
              <a:t>shell</a:t>
            </a:r>
            <a:r>
              <a:rPr lang="es-MX" noProof="0" dirty="0"/>
              <a:t> UNIX simple y permite secuencias de arranque bastante sofisticadas.</a:t>
            </a:r>
          </a:p>
          <a:p>
            <a:pPr marL="0" indent="0">
              <a:buNone/>
            </a:pPr>
            <a:r>
              <a:rPr lang="es-MX" noProof="0" dirty="0"/>
              <a:t>U-</a:t>
            </a:r>
            <a:r>
              <a:rPr lang="es-MX" noProof="0" dirty="0" err="1"/>
              <a:t>Boot</a:t>
            </a:r>
            <a:r>
              <a:rPr lang="es-MX" noProof="0" dirty="0"/>
              <a:t> contiene un gran conjunto de controladores de dispositivos (configurables y seleccionables) y compatibilidad con sistemas de archivos. </a:t>
            </a:r>
          </a:p>
          <a:p>
            <a:pPr marL="0" indent="0">
              <a:buNone/>
            </a:pPr>
            <a:r>
              <a:rPr lang="es-MX" noProof="0" dirty="0"/>
              <a:t>Las imágenes de </a:t>
            </a:r>
            <a:r>
              <a:rPr lang="es-MX" noProof="0" dirty="0" err="1"/>
              <a:t>kernel</a:t>
            </a:r>
            <a:r>
              <a:rPr lang="es-MX" noProof="0" dirty="0"/>
              <a:t> pueden ubicarse en la memoria NAND, así como en los sistemas de archivos compatibles ext2, FAT, ext3, ext4, UBI/UBIFS, jffs2 y </a:t>
            </a:r>
            <a:r>
              <a:rPr lang="es-MX" noProof="0" dirty="0" err="1"/>
              <a:t>cramfs</a:t>
            </a:r>
            <a:r>
              <a:rPr lang="es-MX" noProof="0" dirty="0"/>
              <a:t>.</a:t>
            </a:r>
          </a:p>
          <a:p>
            <a:pPr marL="0" indent="0">
              <a:buNone/>
            </a:pPr>
            <a:r>
              <a:rPr lang="es-MX" noProof="0" dirty="0"/>
              <a:t>Los archivos se pueden implementar en una variedad de dispositivos, incluidos discos y tarjetas MMC.</a:t>
            </a:r>
          </a:p>
          <a:p>
            <a:pPr marL="0" indent="0">
              <a:buNone/>
            </a:pPr>
            <a:r>
              <a:rPr lang="es-MX" noProof="0" dirty="0"/>
              <a:t>Además de arrancar desde un dispositivo local, U-</a:t>
            </a:r>
            <a:r>
              <a:rPr lang="es-MX" noProof="0" dirty="0" err="1"/>
              <a:t>Boot</a:t>
            </a:r>
            <a:r>
              <a:rPr lang="es-MX" noProof="0" dirty="0"/>
              <a:t> puede arrancar desde la red utilizando el protocolo </a:t>
            </a:r>
            <a:r>
              <a:rPr lang="es-MX" noProof="0" dirty="0" err="1"/>
              <a:t>tftp</a:t>
            </a:r>
            <a:r>
              <a:rPr lang="es-MX" noProof="0" dirty="0"/>
              <a:t>, que es el más protocolo de arranque de red común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U - Boot</a:t>
            </a:r>
            <a:br>
              <a:rPr lang="en-US" noProof="0" dirty="0"/>
            </a:br>
            <a:r>
              <a:rPr lang="en-US" b="0" noProof="0" dirty="0" err="1">
                <a:solidFill>
                  <a:schemeClr val="tx1"/>
                </a:solidFill>
              </a:rPr>
              <a:t>Documentacion</a:t>
            </a:r>
            <a:r>
              <a:rPr lang="en-US" b="0" noProof="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CA66F-68AE-48F5-94F0-45BED671E83A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87276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s-MX" noProof="0" dirty="0"/>
              <a:t>El formato </a:t>
            </a:r>
            <a:r>
              <a:rPr lang="es-MX" noProof="0" dirty="0" err="1"/>
              <a:t>uImage</a:t>
            </a:r>
            <a:r>
              <a:rPr lang="es-MX" noProof="0" dirty="0"/>
              <a:t> es el formato predeterminado para los núcleos cargados por U-</a:t>
            </a:r>
            <a:r>
              <a:rPr lang="es-MX" noProof="0" dirty="0" err="1"/>
              <a:t>Boot</a:t>
            </a:r>
            <a:r>
              <a:rPr lang="es-MX" noProof="0" dirty="0"/>
              <a:t>. </a:t>
            </a:r>
          </a:p>
          <a:p>
            <a:pPr marL="0" indent="0">
              <a:buNone/>
            </a:pPr>
            <a:r>
              <a:rPr lang="es-MX" noProof="0" dirty="0"/>
              <a:t>Existe un envoltorio alrededor del </a:t>
            </a:r>
            <a:r>
              <a:rPr lang="es-MX" noProof="0" dirty="0" err="1"/>
              <a:t>kernel</a:t>
            </a:r>
            <a:r>
              <a:rPr lang="es-MX" noProof="0" dirty="0"/>
              <a:t> </a:t>
            </a:r>
            <a:r>
              <a:rPr lang="es-MX" noProof="0" dirty="0" err="1"/>
              <a:t>comprimido.imagen</a:t>
            </a:r>
            <a:r>
              <a:rPr lang="es-MX" noProof="0" dirty="0"/>
              <a:t> (</a:t>
            </a:r>
            <a:r>
              <a:rPr lang="es-MX" noProof="0" dirty="0" err="1"/>
              <a:t>zImagen</a:t>
            </a:r>
            <a:r>
              <a:rPr lang="es-MX" noProof="0" dirty="0"/>
              <a:t>).</a:t>
            </a:r>
          </a:p>
          <a:p>
            <a:pPr marL="0" indent="0">
              <a:buNone/>
            </a:pPr>
            <a:r>
              <a:rPr lang="es-MX" noProof="0" dirty="0"/>
              <a:t>El envoltorio de </a:t>
            </a:r>
            <a:r>
              <a:rPr lang="es-MX" noProof="0" dirty="0" err="1"/>
              <a:t>uImage</a:t>
            </a:r>
            <a:r>
              <a:rPr lang="es-MX" noProof="0" dirty="0"/>
              <a:t> se instala mediante un programa de herramientas U-</a:t>
            </a:r>
            <a:r>
              <a:rPr lang="es-MX" noProof="0" dirty="0" err="1"/>
              <a:t>Boot</a:t>
            </a:r>
            <a:r>
              <a:rPr lang="es-MX" noProof="0" dirty="0"/>
              <a:t> llamado </a:t>
            </a:r>
            <a:r>
              <a:rPr lang="es-MX" noProof="0" dirty="0" err="1"/>
              <a:t>mkimage</a:t>
            </a:r>
            <a:r>
              <a:rPr lang="es-MX" noProof="0" dirty="0"/>
              <a:t>. </a:t>
            </a:r>
          </a:p>
          <a:p>
            <a:pPr marL="0" indent="0">
              <a:buNone/>
            </a:pPr>
            <a:endParaRPr lang="es-MX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s-MX" noProof="0" dirty="0"/>
              <a:t>U-</a:t>
            </a:r>
            <a:r>
              <a:rPr lang="es-MX" noProof="0" dirty="0" err="1"/>
              <a:t>boot</a:t>
            </a:r>
            <a:r>
              <a:rPr lang="es-MX" noProof="0" dirty="0"/>
              <a:t> ahora también puede iniciar directamente archivos </a:t>
            </a:r>
            <a:r>
              <a:rPr lang="es-MX" noProof="0" dirty="0" err="1"/>
              <a:t>zImage</a:t>
            </a:r>
            <a:r>
              <a:rPr lang="es-MX" noProof="0" dirty="0"/>
              <a:t>, lo que hace que este formato sea cada vez más popular.</a:t>
            </a:r>
          </a:p>
          <a:p>
            <a:pPr marL="0" indent="0">
              <a:buNone/>
            </a:pPr>
            <a:r>
              <a:rPr lang="es-MX" noProof="0" dirty="0"/>
              <a:t>U-</a:t>
            </a:r>
            <a:r>
              <a:rPr lang="es-MX" noProof="0" dirty="0" err="1"/>
              <a:t>boot</a:t>
            </a:r>
            <a:r>
              <a:rPr lang="es-MX" noProof="0" dirty="0"/>
              <a:t> también tiene un formato de imagen FIT (Árbol de imagen plano) más nuevo que se puede usar para agrupar varias cosas(como </a:t>
            </a:r>
            <a:r>
              <a:rPr lang="es-MX" noProof="0" dirty="0" err="1"/>
              <a:t>kernel</a:t>
            </a:r>
            <a:r>
              <a:rPr lang="es-MX" noProof="0" dirty="0"/>
              <a:t>, </a:t>
            </a:r>
            <a:r>
              <a:rPr lang="es-MX" noProof="0" dirty="0" err="1"/>
              <a:t>ramdisk</a:t>
            </a:r>
            <a:r>
              <a:rPr lang="es-MX" noProof="0" dirty="0"/>
              <a:t> y archivo </a:t>
            </a:r>
            <a:r>
              <a:rPr lang="es-MX" noProof="0" dirty="0" err="1"/>
              <a:t>dtb</a:t>
            </a:r>
            <a:r>
              <a:rPr lang="es-MX" noProof="0" dirty="0"/>
              <a:t>), además de proporcionar una verificación criptográfica del contenido de la imagen.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U - Boot</a:t>
            </a:r>
            <a:br>
              <a:rPr lang="en-US" noProof="0" dirty="0"/>
            </a:br>
            <a:r>
              <a:rPr lang="en-US" b="0" dirty="0" err="1">
                <a:solidFill>
                  <a:schemeClr val="tx1"/>
                </a:solidFill>
              </a:rPr>
              <a:t>Caracteristicas</a:t>
            </a:r>
            <a:endParaRPr lang="en-US" b="0" noProof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CA66F-68AE-48F5-94F0-45BED671E83A}" type="datetime3">
              <a:rPr lang="en-US" noProof="0" smtClean="0"/>
              <a:pPr/>
              <a:t>2 May 202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581316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nidad 3 - Bootloader introduccion </Template>
  <TotalTime>0</TotalTime>
  <Words>827</Words>
  <Application>Microsoft Office PowerPoint</Application>
  <PresentationFormat>On-screen Show (4:3)</PresentationFormat>
  <Paragraphs>101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Arial</vt:lpstr>
      <vt:lpstr>NimbusSanL-Bold</vt:lpstr>
      <vt:lpstr>Continental AG, 4x3</vt:lpstr>
      <vt:lpstr>Bootloader – Introduccion </vt:lpstr>
      <vt:lpstr>Gestor de arranque</vt:lpstr>
      <vt:lpstr>Etapas de arranque Introduccion</vt:lpstr>
      <vt:lpstr>Etapas de arranque Introduccion</vt:lpstr>
      <vt:lpstr>Objetivos del proyecto </vt:lpstr>
      <vt:lpstr>Gestores de arranque </vt:lpstr>
      <vt:lpstr>U - Boot</vt:lpstr>
      <vt:lpstr>U - Boot Documentacion.</vt:lpstr>
      <vt:lpstr>U - Boot Caracteristicas</vt:lpstr>
      <vt:lpstr>Graci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otloader – Introduccion </dc:title>
  <dc:creator>Mendoza, Miguel02</dc:creator>
  <cp:lastModifiedBy>Mendoza, Miguel02</cp:lastModifiedBy>
  <cp:revision>1</cp:revision>
  <dcterms:created xsi:type="dcterms:W3CDTF">2022-10-12T02:25:44Z</dcterms:created>
  <dcterms:modified xsi:type="dcterms:W3CDTF">2023-05-03T00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Continental AG, 4x3:6</vt:lpwstr>
  </property>
  <property fmtid="{D5CDD505-2E9C-101B-9397-08002B2CF9AE}" pid="3" name="ClassificationContentMarkingFooterText">
    <vt:lpwstr>Internal</vt:lpwstr>
  </property>
</Properties>
</file>